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327" r:id="rId2"/>
  </p:sldIdLst>
  <p:sldSz cx="16235363" cy="8891588"/>
  <p:notesSz cx="6858000" cy="9144000"/>
  <p:defaultTextStyle>
    <a:defPPr>
      <a:defRPr lang="en-US"/>
    </a:defPPr>
    <a:lvl1pPr marL="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C16"/>
    <a:srgbClr val="3F3F3F"/>
    <a:srgbClr val="E7E7E7"/>
    <a:srgbClr val="676767"/>
    <a:srgbClr val="292929"/>
    <a:srgbClr val="F7F7F7"/>
    <a:srgbClr val="E9ECF0"/>
    <a:srgbClr val="9BD9DF"/>
    <a:srgbClr val="CED2DA"/>
    <a:srgbClr val="F5D6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80" d="100"/>
          <a:sy n="80" d="100"/>
        </p:scale>
        <p:origin x="-92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.xml"/><Relationship Id="rId7" Type="http://schemas.openxmlformats.org/officeDocument/2006/relationships/image" Target="../media/image2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.xml"/><Relationship Id="rId10" Type="http://schemas.openxmlformats.org/officeDocument/2006/relationships/image" Target="../media/image5.png"/><Relationship Id="rId4" Type="http://schemas.openxmlformats.org/officeDocument/2006/relationships/tags" Target="../tags/tag16.xml"/><Relationship Id="rId9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0.xml"/><Relationship Id="rId7" Type="http://schemas.openxmlformats.org/officeDocument/2006/relationships/image" Target="../media/image6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10" Type="http://schemas.openxmlformats.org/officeDocument/2006/relationships/image" Target="../media/image5.png"/><Relationship Id="rId4" Type="http://schemas.openxmlformats.org/officeDocument/2006/relationships/tags" Target="../tags/tag21.xml"/><Relationship Id="rId9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image" Target="../media/image7.jpe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10" Type="http://schemas.openxmlformats.org/officeDocument/2006/relationships/image" Target="../media/image5.png"/><Relationship Id="rId4" Type="http://schemas.openxmlformats.org/officeDocument/2006/relationships/tags" Target="../tags/tag26.xml"/><Relationship Id="rId9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0.xml"/><Relationship Id="rId7" Type="http://schemas.openxmlformats.org/officeDocument/2006/relationships/image" Target="../media/image11.jpe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2.xml"/><Relationship Id="rId10" Type="http://schemas.openxmlformats.org/officeDocument/2006/relationships/image" Target="../media/image5.png"/><Relationship Id="rId4" Type="http://schemas.openxmlformats.org/officeDocument/2006/relationships/tags" Target="../tags/tag31.xml"/><Relationship Id="rId9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5.xml"/><Relationship Id="rId7" Type="http://schemas.openxmlformats.org/officeDocument/2006/relationships/image" Target="../media/image12.jpe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10" Type="http://schemas.openxmlformats.org/officeDocument/2006/relationships/image" Target="../media/image5.png"/><Relationship Id="rId4" Type="http://schemas.openxmlformats.org/officeDocument/2006/relationships/tags" Target="../tags/tag36.xml"/><Relationship Id="rId9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0.xml"/><Relationship Id="rId7" Type="http://schemas.openxmlformats.org/officeDocument/2006/relationships/image" Target="../media/image13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2.xml"/><Relationship Id="rId10" Type="http://schemas.openxmlformats.org/officeDocument/2006/relationships/image" Target="../media/image5.png"/><Relationship Id="rId4" Type="http://schemas.openxmlformats.org/officeDocument/2006/relationships/tags" Target="../tags/tag41.xml"/><Relationship Id="rId9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5.xml"/><Relationship Id="rId7" Type="http://schemas.openxmlformats.org/officeDocument/2006/relationships/image" Target="../media/image14.jpeg"/><Relationship Id="rId12" Type="http://schemas.openxmlformats.org/officeDocument/2006/relationships/image" Target="../media/image15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9.emf"/><Relationship Id="rId5" Type="http://schemas.openxmlformats.org/officeDocument/2006/relationships/tags" Target="../tags/tag47.xml"/><Relationship Id="rId10" Type="http://schemas.openxmlformats.org/officeDocument/2006/relationships/image" Target="../media/image5.png"/><Relationship Id="rId4" Type="http://schemas.openxmlformats.org/officeDocument/2006/relationships/tags" Target="../tags/tag46.xml"/><Relationship Id="rId9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0.xml"/><Relationship Id="rId7" Type="http://schemas.openxmlformats.org/officeDocument/2006/relationships/image" Target="../media/image16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10" Type="http://schemas.openxmlformats.org/officeDocument/2006/relationships/image" Target="../media/image10.png"/><Relationship Id="rId4" Type="http://schemas.openxmlformats.org/officeDocument/2006/relationships/tags" Target="../tags/tag51.xml"/><Relationship Id="rId9" Type="http://schemas.openxmlformats.org/officeDocument/2006/relationships/image" Target="../media/image9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7.xml"/><Relationship Id="rId7" Type="http://schemas.openxmlformats.org/officeDocument/2006/relationships/image" Target="../media/image8.jpe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10" Type="http://schemas.openxmlformats.org/officeDocument/2006/relationships/image" Target="../media/image10.png"/><Relationship Id="rId4" Type="http://schemas.openxmlformats.org/officeDocument/2006/relationships/tags" Target="../tags/tag58.xml"/><Relationship Id="rId9" Type="http://schemas.openxmlformats.org/officeDocument/2006/relationships/image" Target="../media/image9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6235363" cy="592772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0" y="0"/>
            <a:ext cx="16235363" cy="5927727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827" y="6430956"/>
            <a:ext cx="10350044" cy="1896872"/>
          </a:xfrm>
        </p:spPr>
        <p:txBody>
          <a:bodyPr anchor="ctr">
            <a:normAutofit/>
          </a:bodyPr>
          <a:lstStyle>
            <a:lvl1pPr algn="r">
              <a:defRPr sz="6483" spc="25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66227" y="6430956"/>
            <a:ext cx="4261783" cy="1896872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334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592769" indent="0" algn="ctr">
              <a:buNone/>
              <a:defRPr sz="2334"/>
            </a:lvl2pPr>
            <a:lvl3pPr marL="1185539" indent="0" algn="ctr">
              <a:buNone/>
              <a:defRPr sz="2334"/>
            </a:lvl3pPr>
            <a:lvl4pPr marL="1778308" indent="0" algn="ctr">
              <a:buNone/>
              <a:defRPr sz="2334"/>
            </a:lvl4pPr>
            <a:lvl5pPr marL="2371078" indent="0" algn="ctr">
              <a:buNone/>
              <a:defRPr sz="2334"/>
            </a:lvl5pPr>
            <a:lvl6pPr marL="2963847" indent="0" algn="ctr">
              <a:buNone/>
              <a:defRPr sz="2334"/>
            </a:lvl6pPr>
            <a:lvl7pPr marL="3556616" indent="0" algn="ctr">
              <a:buNone/>
              <a:defRPr sz="2334"/>
            </a:lvl7pPr>
            <a:lvl8pPr marL="4149386" indent="0" algn="ctr">
              <a:buNone/>
              <a:defRPr sz="2334"/>
            </a:lvl8pPr>
            <a:lvl9pPr marL="4742155" indent="0" algn="ctr">
              <a:buNone/>
              <a:defRPr sz="233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6AD6EE87-EBD5-4F12-A48A-63ACA297AC8F}" type="datetimeFigureOut">
              <a:rPr lang="en-US" smtClean="0"/>
              <a:t>7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1168261" y="6825060"/>
            <a:ext cx="0" cy="1185545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D:\My Work\ODS\Portfolio\GSLs\TEMPLATES\Cloud\Cover3.jpg"/>
          <p:cNvPicPr>
            <a:picLocks noChangeAspect="1" noChangeArrowheads="1"/>
          </p:cNvPicPr>
          <p:nvPr userDrawn="1"/>
        </p:nvPicPr>
        <p:blipFill>
          <a:blip r:embed="rId5" cstate="print"/>
          <a:srcRect r="5658" b="16975"/>
          <a:stretch>
            <a:fillRect/>
          </a:stretch>
        </p:blipFill>
        <p:spPr bwMode="auto">
          <a:xfrm>
            <a:off x="-2" y="1127915"/>
            <a:ext cx="16235363" cy="776367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5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6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7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8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801121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5081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618433" y="987954"/>
            <a:ext cx="3500750" cy="7014475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19126" y="987954"/>
            <a:ext cx="10096367" cy="7014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AFB99-0EAB-4182-AFF8-E214C82A68F6}" type="datetimeFigureOut">
              <a:rPr lang="en-US" smtClean="0"/>
              <a:t>7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3394174" y="60783"/>
            <a:ext cx="0" cy="1217652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2014-08-26_Infra_Divider3.jpg"/>
          <p:cNvPicPr>
            <a:picLocks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853"/>
          <a:stretch/>
        </p:blipFill>
        <p:spPr>
          <a:xfrm>
            <a:off x="4821" y="1601467"/>
            <a:ext cx="16230541" cy="672366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sp>
        <p:nvSpPr>
          <p:cNvPr id="12" name="Rectangle 11"/>
          <p:cNvSpPr/>
          <p:nvPr userDrawn="1"/>
        </p:nvSpPr>
        <p:spPr>
          <a:xfrm>
            <a:off x="0" y="8343480"/>
            <a:ext cx="16235363" cy="548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80" tIns="46591" rIns="93180" bIns="46591" rtlCol="0" anchor="ctr"/>
          <a:lstStyle/>
          <a:p>
            <a:pPr algn="ctr" defTabSz="1062870"/>
            <a:endParaRPr lang="en-US" sz="1443" dirty="0">
              <a:solidFill>
                <a:prstClr val="white"/>
              </a:solidFill>
            </a:endParaRPr>
          </a:p>
        </p:txBody>
      </p:sp>
      <p:pic>
        <p:nvPicPr>
          <p:cNvPr id="13" name="Picture 104" descr="C:\Users\UserSim\Desktop\Capgemini\moto.emf"/>
          <p:cNvPicPr>
            <a:picLocks noChangeAspect="1" noChangeArrowheads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2314427" y="8513288"/>
            <a:ext cx="3309516" cy="208492"/>
          </a:xfrm>
          <a:prstGeom prst="rect">
            <a:avLst/>
          </a:prstGeom>
          <a:noFill/>
        </p:spPr>
      </p:pic>
      <p:pic>
        <p:nvPicPr>
          <p:cNvPr id="14" name="Picture 16" descr="D:\My Work\ODS\TEMPLATES\Business Cloud\12-08\Logo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110" y="3334637"/>
            <a:ext cx="5023067" cy="17247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45504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D:\My Work\ODS\Portfolio\GSLs\TEMPLATES\Cloud\Cover3.jpg"/>
          <p:cNvPicPr>
            <a:picLocks noChangeAspect="1" noChangeArrowheads="1"/>
          </p:cNvPicPr>
          <p:nvPr userDrawn="1"/>
        </p:nvPicPr>
        <p:blipFill>
          <a:blip r:embed="rId7" cstate="print"/>
          <a:srcRect r="5658" b="16975"/>
          <a:stretch>
            <a:fillRect/>
          </a:stretch>
        </p:blipFill>
        <p:spPr bwMode="auto">
          <a:xfrm>
            <a:off x="-2" y="1127915"/>
            <a:ext cx="16235363" cy="776367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3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4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5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540756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D:\My Work\ODS\Portfolio\GSLs\TEMPLATES\Cloud\Cover4.jpg"/>
          <p:cNvPicPr>
            <a:picLocks noChangeAspect="1" noChangeArrowheads="1"/>
          </p:cNvPicPr>
          <p:nvPr userDrawn="1"/>
        </p:nvPicPr>
        <p:blipFill>
          <a:blip r:embed="rId7" cstate="print"/>
          <a:srcRect r="4053" b="8701"/>
          <a:stretch>
            <a:fillRect/>
          </a:stretch>
        </p:blipFill>
        <p:spPr bwMode="auto">
          <a:xfrm>
            <a:off x="3" y="727245"/>
            <a:ext cx="16235361" cy="816434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3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4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5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6307369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D:\My Work\ODS\Portfolio\GSLs\TEMPLATES\Cloud\Cover5.jpg"/>
          <p:cNvPicPr>
            <a:picLocks noChangeAspect="1" noChangeArrowheads="1"/>
          </p:cNvPicPr>
          <p:nvPr userDrawn="1"/>
        </p:nvPicPr>
        <p:blipFill>
          <a:blip r:embed="rId7" cstate="print"/>
          <a:srcRect r="8818" b="8818"/>
          <a:stretch>
            <a:fillRect/>
          </a:stretch>
        </p:blipFill>
        <p:spPr bwMode="auto">
          <a:xfrm>
            <a:off x="3" y="329318"/>
            <a:ext cx="16240484" cy="856826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3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4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5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9349519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7" descr="D:\My Work\ODS\Portfolio\GSLs\TEMPLATES\Cloud\Cover1.jpg"/>
          <p:cNvPicPr>
            <a:picLocks noChangeAspect="1" noChangeArrowheads="1"/>
          </p:cNvPicPr>
          <p:nvPr userDrawn="1"/>
        </p:nvPicPr>
        <p:blipFill>
          <a:blip r:embed="rId7" cstate="print"/>
          <a:srcRect r="5248" b="12536"/>
          <a:stretch>
            <a:fillRect/>
          </a:stretch>
        </p:blipFill>
        <p:spPr bwMode="auto">
          <a:xfrm>
            <a:off x="0" y="0"/>
            <a:ext cx="16235363" cy="889158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4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5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6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5107497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 descr="D:\My Work\ODS\Portfolio\GSLs\TEMPLATES\Cloud\Cover2.jpg"/>
          <p:cNvPicPr>
            <a:picLocks noChangeAspect="1" noChangeArrowheads="1"/>
          </p:cNvPicPr>
          <p:nvPr userDrawn="1"/>
        </p:nvPicPr>
        <p:blipFill>
          <a:blip r:embed="rId7" cstate="print"/>
          <a:srcRect r="3128" b="12970"/>
          <a:stretch>
            <a:fillRect/>
          </a:stretch>
        </p:blipFill>
        <p:spPr bwMode="auto">
          <a:xfrm>
            <a:off x="1" y="1202706"/>
            <a:ext cx="16221744" cy="768888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2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5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6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7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8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9787791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:\My Work\ODS\Portfolio\GSLs\TEMPLATES\Cloud\AWS_ppt.jpg"/>
          <p:cNvPicPr>
            <a:picLocks noChangeAspect="1" noChangeArrowheads="1"/>
          </p:cNvPicPr>
          <p:nvPr userDrawn="1"/>
        </p:nvPicPr>
        <p:blipFill>
          <a:blip r:embed="rId7" cstate="print"/>
          <a:srcRect t="4266" b="7972"/>
          <a:stretch>
            <a:fillRect/>
          </a:stretch>
        </p:blipFill>
        <p:spPr bwMode="auto">
          <a:xfrm flipH="1">
            <a:off x="1" y="162579"/>
            <a:ext cx="16221744" cy="872901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2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3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4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5221942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VI-option2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274215"/>
            <a:ext cx="16227868" cy="8274336"/>
          </a:xfrm>
          <a:prstGeom prst="rect">
            <a:avLst/>
          </a:prstGeom>
        </p:spPr>
      </p:pic>
      <p:sp>
        <p:nvSpPr>
          <p:cNvPr id="9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4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5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6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  <p:sp>
        <p:nvSpPr>
          <p:cNvPr id="18" name="Rectangle 17"/>
          <p:cNvSpPr/>
          <p:nvPr userDrawn="1"/>
        </p:nvSpPr>
        <p:spPr>
          <a:xfrm>
            <a:off x="0" y="8343480"/>
            <a:ext cx="16235363" cy="548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80" tIns="46591" rIns="93180" bIns="46591" rtlCol="0" anchor="ctr"/>
          <a:lstStyle/>
          <a:p>
            <a:pPr algn="ctr" defTabSz="1062870"/>
            <a:endParaRPr lang="en-US" sz="1443" dirty="0">
              <a:solidFill>
                <a:prstClr val="white"/>
              </a:solidFill>
            </a:endParaRPr>
          </a:p>
        </p:txBody>
      </p:sp>
      <p:pic>
        <p:nvPicPr>
          <p:cNvPr id="19" name="Picture 104" descr="C:\Users\UserSim\Desktop\Capgemini\moto.emf"/>
          <p:cNvPicPr>
            <a:picLocks noChangeAspect="1" noChangeArrowheads="1"/>
          </p:cNvPicPr>
          <p:nvPr userDrawn="1"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12314427" y="8513288"/>
            <a:ext cx="3309516" cy="208492"/>
          </a:xfrm>
          <a:prstGeom prst="rect">
            <a:avLst/>
          </a:prstGeom>
          <a:noFill/>
        </p:spPr>
      </p:pic>
      <p:pic>
        <p:nvPicPr>
          <p:cNvPr id="20" name="Picture 19" descr="Red-tagline.pn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1010303" y="6646715"/>
            <a:ext cx="3795479" cy="1173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7580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7" descr="D:\My Work\ODS\TEMPLATES\Business Cloud\12-08\Cover1.jp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320"/>
          <a:stretch/>
        </p:blipFill>
        <p:spPr bwMode="auto">
          <a:xfrm>
            <a:off x="0" y="548865"/>
            <a:ext cx="16235363" cy="816949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sp>
        <p:nvSpPr>
          <p:cNvPr id="17" name="Rectangle 16"/>
          <p:cNvSpPr/>
          <p:nvPr userDrawn="1"/>
        </p:nvSpPr>
        <p:spPr>
          <a:xfrm>
            <a:off x="0" y="8343480"/>
            <a:ext cx="16235363" cy="548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80" tIns="46591" rIns="93180" bIns="46591" rtlCol="0" anchor="ctr"/>
          <a:lstStyle/>
          <a:p>
            <a:pPr algn="ctr" defTabSz="1062870"/>
            <a:endParaRPr lang="en-US" sz="1443" dirty="0">
              <a:solidFill>
                <a:prstClr val="white"/>
              </a:solidFill>
            </a:endParaRPr>
          </a:p>
        </p:txBody>
      </p:sp>
      <p:pic>
        <p:nvPicPr>
          <p:cNvPr id="18" name="Picture 104" descr="C:\Users\UserSim\Desktop\Capgemini\moto.emf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314427" y="8513288"/>
            <a:ext cx="3309516" cy="208492"/>
          </a:xfrm>
          <a:prstGeom prst="rect">
            <a:avLst/>
          </a:prstGeom>
          <a:noFill/>
        </p:spPr>
      </p:pic>
      <p:pic>
        <p:nvPicPr>
          <p:cNvPr id="21" name="Picture 16" descr="D:\My Work\ODS\TEMPLATES\Business Cloud\12-08\Logo.pn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110" y="3334637"/>
            <a:ext cx="5023067" cy="17247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90132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D3794B-289A-4A80-97D7-111025398D45}" type="datetimeFigureOut">
              <a:rPr lang="en-US" smtClean="0"/>
              <a:t>7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3" descr="D:\My Work\ODS\Portfolio\GSLs\TEMPLATES\Cloud\Cover4.jpg"/>
          <p:cNvPicPr>
            <a:picLocks noChangeAspect="1" noChangeArrowheads="1"/>
          </p:cNvPicPr>
          <p:nvPr userDrawn="1"/>
        </p:nvPicPr>
        <p:blipFill>
          <a:blip r:embed="rId5" cstate="print"/>
          <a:srcRect r="4053" b="8701"/>
          <a:stretch>
            <a:fillRect/>
          </a:stretch>
        </p:blipFill>
        <p:spPr bwMode="auto">
          <a:xfrm>
            <a:off x="3" y="727245"/>
            <a:ext cx="16235361" cy="816434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0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1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2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3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1839502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1" y="1"/>
            <a:ext cx="16238166" cy="413019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rgbClr val="7030A0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2" y="899132"/>
            <a:ext cx="13529469" cy="1235202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-2801" y="8281060"/>
            <a:ext cx="16238166" cy="0"/>
          </a:xfrm>
          <a:prstGeom prst="line">
            <a:avLst/>
          </a:prstGeom>
          <a:ln w="63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8171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2014-08-26_Infra_Divider3.jpg"/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853"/>
          <a:stretch/>
        </p:blipFill>
        <p:spPr>
          <a:xfrm>
            <a:off x="4821" y="1601467"/>
            <a:ext cx="16230541" cy="672366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 userDrawn="1"/>
        </p:nvSpPr>
        <p:spPr>
          <a:xfrm>
            <a:off x="0" y="8343480"/>
            <a:ext cx="16235363" cy="548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80" tIns="46591" rIns="93180" bIns="46591" rtlCol="0" anchor="ctr"/>
          <a:lstStyle/>
          <a:p>
            <a:pPr algn="ctr" defTabSz="1062870"/>
            <a:endParaRPr lang="en-US" sz="1443" dirty="0">
              <a:solidFill>
                <a:prstClr val="white"/>
              </a:solidFill>
            </a:endParaRPr>
          </a:p>
        </p:txBody>
      </p:sp>
      <p:pic>
        <p:nvPicPr>
          <p:cNvPr id="14" name="Picture 104" descr="C:\Users\UserSim\Desktop\Capgemini\moto.emf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314427" y="8513288"/>
            <a:ext cx="3309516" cy="208492"/>
          </a:xfrm>
          <a:prstGeom prst="rect">
            <a:avLst/>
          </a:prstGeom>
          <a:noFill/>
        </p:spPr>
      </p:pic>
      <p:pic>
        <p:nvPicPr>
          <p:cNvPr id="15" name="Picture 16" descr="D:\My Work\ODS\TEMPLATES\Business Cloud\12-08\Logo.pn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110" y="3334637"/>
            <a:ext cx="5023067" cy="17247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28689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6235363" cy="592772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0" y="0"/>
            <a:ext cx="16235363" cy="5927727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827" y="6430956"/>
            <a:ext cx="10350044" cy="1896872"/>
          </a:xfrm>
        </p:spPr>
        <p:txBody>
          <a:bodyPr anchor="ctr">
            <a:normAutofit/>
          </a:bodyPr>
          <a:lstStyle>
            <a:lvl1pPr algn="r">
              <a:defRPr sz="6483" b="0" spc="25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6227" y="6430956"/>
            <a:ext cx="4261783" cy="1896872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34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592769" indent="0">
              <a:buNone/>
              <a:defRPr sz="2334">
                <a:solidFill>
                  <a:schemeClr val="tx1">
                    <a:tint val="75000"/>
                  </a:schemeClr>
                </a:solidFill>
              </a:defRPr>
            </a:lvl2pPr>
            <a:lvl3pPr marL="1185539" indent="0">
              <a:buNone/>
              <a:defRPr sz="2074">
                <a:solidFill>
                  <a:schemeClr val="tx1">
                    <a:tint val="75000"/>
                  </a:schemeClr>
                </a:solidFill>
              </a:defRPr>
            </a:lvl3pPr>
            <a:lvl4pPr marL="1778308" indent="0">
              <a:buNone/>
              <a:defRPr sz="1815">
                <a:solidFill>
                  <a:schemeClr val="tx1">
                    <a:tint val="75000"/>
                  </a:schemeClr>
                </a:solidFill>
              </a:defRPr>
            </a:lvl4pPr>
            <a:lvl5pPr marL="2371078" indent="0">
              <a:buNone/>
              <a:defRPr sz="1815">
                <a:solidFill>
                  <a:schemeClr val="tx1">
                    <a:tint val="75000"/>
                  </a:schemeClr>
                </a:solidFill>
              </a:defRPr>
            </a:lvl5pPr>
            <a:lvl6pPr marL="2963847" indent="0">
              <a:buNone/>
              <a:defRPr sz="1815">
                <a:solidFill>
                  <a:schemeClr val="tx1">
                    <a:tint val="75000"/>
                  </a:schemeClr>
                </a:solidFill>
              </a:defRPr>
            </a:lvl6pPr>
            <a:lvl7pPr marL="3556616" indent="0">
              <a:buNone/>
              <a:defRPr sz="1815">
                <a:solidFill>
                  <a:schemeClr val="tx1">
                    <a:tint val="75000"/>
                  </a:schemeClr>
                </a:solidFill>
              </a:defRPr>
            </a:lvl7pPr>
            <a:lvl8pPr marL="4149386" indent="0">
              <a:buNone/>
              <a:defRPr sz="1815">
                <a:solidFill>
                  <a:schemeClr val="tx1">
                    <a:tint val="75000"/>
                  </a:schemeClr>
                </a:solidFill>
              </a:defRPr>
            </a:lvl8pPr>
            <a:lvl9pPr marL="4742155" indent="0">
              <a:buNone/>
              <a:defRPr sz="181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1015F-7CC6-4D0A-9D87-873EA4C304CC}" type="datetimeFigureOut">
              <a:rPr lang="en-US" smtClean="0"/>
              <a:t>7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1168261" y="6825060"/>
            <a:ext cx="0" cy="1185545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D:\My Work\ODS\Portfolio\GSLs\TEMPLATES\Cloud\Cover5.jpg"/>
          <p:cNvPicPr>
            <a:picLocks noChangeAspect="1" noChangeArrowheads="1"/>
          </p:cNvPicPr>
          <p:nvPr userDrawn="1"/>
        </p:nvPicPr>
        <p:blipFill>
          <a:blip r:embed="rId5" cstate="print"/>
          <a:srcRect r="8818" b="8818"/>
          <a:stretch>
            <a:fillRect/>
          </a:stretch>
        </p:blipFill>
        <p:spPr bwMode="auto">
          <a:xfrm>
            <a:off x="3" y="329318"/>
            <a:ext cx="16240484" cy="8568264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3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5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6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7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8305031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3773" y="758749"/>
            <a:ext cx="12943642" cy="19442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63768" y="2963863"/>
            <a:ext cx="6331792" cy="521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75623" y="2963863"/>
            <a:ext cx="6331792" cy="521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307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3770" y="2825959"/>
            <a:ext cx="6331792" cy="1066991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982" b="0" cap="none" baseline="0">
                <a:solidFill>
                  <a:schemeClr val="accent1"/>
                </a:solidFill>
                <a:latin typeface="+mn-lt"/>
              </a:defRPr>
            </a:lvl1pPr>
            <a:lvl2pPr marL="592769" indent="0">
              <a:buNone/>
              <a:defRPr sz="2593" b="1"/>
            </a:lvl2pPr>
            <a:lvl3pPr marL="1185539" indent="0">
              <a:buNone/>
              <a:defRPr sz="2334" b="1"/>
            </a:lvl3pPr>
            <a:lvl4pPr marL="1778308" indent="0">
              <a:buNone/>
              <a:defRPr sz="2074" b="1"/>
            </a:lvl4pPr>
            <a:lvl5pPr marL="2371078" indent="0">
              <a:buNone/>
              <a:defRPr sz="2074" b="1"/>
            </a:lvl5pPr>
            <a:lvl6pPr marL="2963847" indent="0">
              <a:buNone/>
              <a:defRPr sz="2074" b="1"/>
            </a:lvl6pPr>
            <a:lvl7pPr marL="3556616" indent="0">
              <a:buNone/>
              <a:defRPr sz="2074" b="1"/>
            </a:lvl7pPr>
            <a:lvl8pPr marL="4149386" indent="0">
              <a:buNone/>
              <a:defRPr sz="2074" b="1"/>
            </a:lvl8pPr>
            <a:lvl9pPr marL="4742155" indent="0">
              <a:buNone/>
              <a:defRPr sz="207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63770" y="3847821"/>
            <a:ext cx="6331792" cy="4332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977711" y="2825959"/>
            <a:ext cx="6331792" cy="1066991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982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92769" indent="0">
              <a:buNone/>
              <a:defRPr sz="2593" b="1"/>
            </a:lvl2pPr>
            <a:lvl3pPr marL="1185539" indent="0">
              <a:buNone/>
              <a:defRPr sz="2334" b="1"/>
            </a:lvl3pPr>
            <a:lvl4pPr marL="1778308" indent="0">
              <a:buNone/>
              <a:defRPr sz="2074" b="1"/>
            </a:lvl4pPr>
            <a:lvl5pPr marL="2371078" indent="0">
              <a:buNone/>
              <a:defRPr sz="2074" b="1"/>
            </a:lvl5pPr>
            <a:lvl6pPr marL="2963847" indent="0">
              <a:buNone/>
              <a:defRPr sz="2074" b="1"/>
            </a:lvl6pPr>
            <a:lvl7pPr marL="3556616" indent="0">
              <a:buNone/>
              <a:defRPr sz="2074" b="1"/>
            </a:lvl7pPr>
            <a:lvl8pPr marL="4149386" indent="0">
              <a:buNone/>
              <a:defRPr sz="2074" b="1"/>
            </a:lvl8pPr>
            <a:lvl9pPr marL="4742155" indent="0">
              <a:buNone/>
              <a:defRPr sz="2074" b="1"/>
            </a:lvl9pPr>
          </a:lstStyle>
          <a:p>
            <a:pPr marL="0" lvl="0" indent="0" algn="l" defTabSz="1185539" rtl="0" eaLnBrk="1" latinLnBrk="0" hangingPunct="1">
              <a:lnSpc>
                <a:spcPct val="90000"/>
              </a:lnSpc>
              <a:spcBef>
                <a:spcPts val="2334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77711" y="3847821"/>
            <a:ext cx="6331792" cy="4332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2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5475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1760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2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2876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363770" y="611324"/>
            <a:ext cx="5844731" cy="2252536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518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10329" y="1066990"/>
            <a:ext cx="7561619" cy="6722041"/>
          </a:xfrm>
        </p:spPr>
        <p:txBody>
          <a:bodyPr/>
          <a:lstStyle>
            <a:lvl1pPr>
              <a:defRPr sz="3112"/>
            </a:lvl1pPr>
            <a:lvl2pPr>
              <a:defRPr sz="2593"/>
            </a:lvl2pPr>
            <a:lvl3pPr>
              <a:defRPr sz="2074"/>
            </a:lvl3pPr>
            <a:lvl4pPr>
              <a:defRPr sz="2074"/>
            </a:lvl4pPr>
            <a:lvl5pPr>
              <a:defRPr sz="2074"/>
            </a:lvl5pPr>
            <a:lvl6pPr>
              <a:defRPr sz="2074"/>
            </a:lvl6pPr>
            <a:lvl7pPr>
              <a:defRPr sz="2074"/>
            </a:lvl7pPr>
            <a:lvl8pPr>
              <a:defRPr sz="2074"/>
            </a:lvl8pPr>
            <a:lvl9pPr>
              <a:defRPr sz="207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63770" y="2926919"/>
            <a:ext cx="5844731" cy="4877919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778"/>
              </a:spcBef>
              <a:buNone/>
              <a:defRPr sz="2074"/>
            </a:lvl1pPr>
            <a:lvl2pPr marL="592769" indent="0">
              <a:buNone/>
              <a:defRPr sz="1556"/>
            </a:lvl2pPr>
            <a:lvl3pPr marL="1185539" indent="0">
              <a:buNone/>
              <a:defRPr sz="1297"/>
            </a:lvl3pPr>
            <a:lvl4pPr marL="1778308" indent="0">
              <a:buNone/>
              <a:defRPr sz="1167"/>
            </a:lvl4pPr>
            <a:lvl5pPr marL="2371078" indent="0">
              <a:buNone/>
              <a:defRPr sz="1167"/>
            </a:lvl5pPr>
            <a:lvl6pPr marL="2963847" indent="0">
              <a:buNone/>
              <a:defRPr sz="1167"/>
            </a:lvl6pPr>
            <a:lvl7pPr marL="3556616" indent="0">
              <a:buNone/>
              <a:defRPr sz="1167"/>
            </a:lvl7pPr>
            <a:lvl8pPr marL="4149386" indent="0">
              <a:buNone/>
              <a:defRPr sz="1167"/>
            </a:lvl8pPr>
            <a:lvl9pPr marL="4742155" indent="0">
              <a:buNone/>
              <a:defRPr sz="11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382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827" y="6430957"/>
            <a:ext cx="10350044" cy="1896872"/>
          </a:xfrm>
        </p:spPr>
        <p:txBody>
          <a:bodyPr anchor="ctr">
            <a:normAutofit/>
          </a:bodyPr>
          <a:lstStyle>
            <a:lvl1pPr algn="r">
              <a:defRPr sz="6483" spc="25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" y="-1"/>
            <a:ext cx="16231303" cy="5927725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4149"/>
            </a:lvl1pPr>
            <a:lvl2pPr marL="592769" indent="0">
              <a:buNone/>
              <a:defRPr sz="3630"/>
            </a:lvl2pPr>
            <a:lvl3pPr marL="1185539" indent="0">
              <a:buNone/>
              <a:defRPr sz="3112"/>
            </a:lvl3pPr>
            <a:lvl4pPr marL="1778308" indent="0">
              <a:buNone/>
              <a:defRPr sz="2593"/>
            </a:lvl4pPr>
            <a:lvl5pPr marL="2371078" indent="0">
              <a:buNone/>
              <a:defRPr sz="2593"/>
            </a:lvl5pPr>
            <a:lvl6pPr marL="2963847" indent="0">
              <a:buNone/>
              <a:defRPr sz="2593"/>
            </a:lvl6pPr>
            <a:lvl7pPr marL="3556616" indent="0">
              <a:buNone/>
              <a:defRPr sz="2593"/>
            </a:lvl7pPr>
            <a:lvl8pPr marL="4149386" indent="0">
              <a:buNone/>
              <a:defRPr sz="2593"/>
            </a:lvl8pPr>
            <a:lvl9pPr marL="4742155" indent="0">
              <a:buNone/>
              <a:defRPr sz="2593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66227" y="6430957"/>
            <a:ext cx="4261783" cy="1896872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34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592769" indent="0">
              <a:buNone/>
              <a:defRPr sz="1815"/>
            </a:lvl2pPr>
            <a:lvl3pPr marL="1185539" indent="0">
              <a:buNone/>
              <a:defRPr sz="1556"/>
            </a:lvl3pPr>
            <a:lvl4pPr marL="1778308" indent="0">
              <a:buNone/>
              <a:defRPr sz="1297"/>
            </a:lvl4pPr>
            <a:lvl5pPr marL="2371078" indent="0">
              <a:buNone/>
              <a:defRPr sz="1297"/>
            </a:lvl5pPr>
            <a:lvl6pPr marL="2963847" indent="0">
              <a:buNone/>
              <a:defRPr sz="1297"/>
            </a:lvl6pPr>
            <a:lvl7pPr marL="3556616" indent="0">
              <a:buNone/>
              <a:defRPr sz="1297"/>
            </a:lvl7pPr>
            <a:lvl8pPr marL="4149386" indent="0">
              <a:buNone/>
              <a:defRPr sz="1297"/>
            </a:lvl8pPr>
            <a:lvl9pPr marL="4742155" indent="0">
              <a:buNone/>
              <a:defRPr sz="129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1168261" y="6825060"/>
            <a:ext cx="0" cy="118554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65962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63773" y="758749"/>
            <a:ext cx="12943642" cy="19442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3772" y="2963863"/>
            <a:ext cx="12943644" cy="5216398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63774" y="8389448"/>
            <a:ext cx="2868543" cy="355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97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FFE0C89F-75F4-4C3E-998A-7B5F5ABA32FE}" type="datetimeFigureOut">
              <a:rPr lang="en-US" smtClean="0"/>
              <a:t>7/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49048" y="8389448"/>
            <a:ext cx="7858624" cy="355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97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431434" y="8389448"/>
            <a:ext cx="1296575" cy="355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97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1014710" y="1071353"/>
            <a:ext cx="0" cy="118554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5959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8" r:id="rId18"/>
    <p:sldLayoutId id="2147483669" r:id="rId19"/>
    <p:sldLayoutId id="2147483670" r:id="rId20"/>
    <p:sldLayoutId id="2147483671" r:id="rId21"/>
  </p:sldLayoutIdLst>
  <p:txStyles>
    <p:titleStyle>
      <a:lvl1pPr algn="l" defTabSz="1185539" rtl="0" eaLnBrk="1" latinLnBrk="0" hangingPunct="1">
        <a:lnSpc>
          <a:spcPct val="80000"/>
        </a:lnSpc>
        <a:spcBef>
          <a:spcPct val="0"/>
        </a:spcBef>
        <a:buNone/>
        <a:defRPr sz="6483" kern="1200" cap="all" spc="13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118554" indent="-118554" algn="l" defTabSz="1185539" rtl="0" eaLnBrk="1" latinLnBrk="0" hangingPunct="1">
        <a:lnSpc>
          <a:spcPct val="90000"/>
        </a:lnSpc>
        <a:spcBef>
          <a:spcPts val="1556"/>
        </a:spcBef>
        <a:spcAft>
          <a:spcPts val="259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852" kern="1200">
          <a:solidFill>
            <a:schemeClr val="tx1"/>
          </a:solidFill>
          <a:latin typeface="+mn-lt"/>
          <a:ea typeface="+mn-ea"/>
          <a:cs typeface="+mn-cs"/>
        </a:defRPr>
      </a:lvl1pPr>
      <a:lvl2pPr marL="343807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2334" kern="1200">
          <a:solidFill>
            <a:schemeClr val="tx1"/>
          </a:solidFill>
          <a:latin typeface="+mn-lt"/>
          <a:ea typeface="+mn-ea"/>
          <a:cs typeface="+mn-cs"/>
        </a:defRPr>
      </a:lvl2pPr>
      <a:lvl3pPr marL="580915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3pPr>
      <a:lvl4pPr marL="770601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4pPr>
      <a:lvl5pPr marL="1007708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5pPr>
      <a:lvl6pPr marL="1185539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6pPr>
      <a:lvl7pPr marL="1375225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7pPr>
      <a:lvl8pPr marL="1576766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8pPr>
      <a:lvl9pPr marL="1766452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1pPr>
      <a:lvl2pPr marL="592769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2pPr>
      <a:lvl3pPr marL="1185539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3pPr>
      <a:lvl4pPr marL="1778308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4pPr>
      <a:lvl5pPr marL="2371078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5pPr>
      <a:lvl6pPr marL="2963847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6pPr>
      <a:lvl7pPr marL="3556616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7pPr>
      <a:lvl8pPr marL="4149386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8pPr>
      <a:lvl9pPr marL="4742155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48FA1F0-2B9A-4336-8F87-E58CB1918C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6965" y="840333"/>
            <a:ext cx="3257550" cy="143827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CD9C07-384D-40C5-ABC4-69DB19DB56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9980" y="736965"/>
            <a:ext cx="3438525" cy="14382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C53BF34-E934-4B2C-932F-343F9010B9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6518" y="3721894"/>
            <a:ext cx="3362325" cy="144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027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2929</TotalTime>
  <Words>0</Words>
  <Application>Microsoft Office PowerPoint</Application>
  <PresentationFormat>Custom</PresentationFormat>
  <Paragraphs>0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Tw Cen MT</vt:lpstr>
      <vt:lpstr>Tw Cen MT Condensed</vt:lpstr>
      <vt:lpstr>Wingdings 3</vt:lpstr>
      <vt:lpstr>Integral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jappa, Shashidhar</dc:creator>
  <cp:lastModifiedBy>Shikhar Saxena</cp:lastModifiedBy>
  <cp:revision>171</cp:revision>
  <dcterms:created xsi:type="dcterms:W3CDTF">2017-02-23T05:50:52Z</dcterms:created>
  <dcterms:modified xsi:type="dcterms:W3CDTF">2019-07-02T15:21:16Z</dcterms:modified>
</cp:coreProperties>
</file>